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513" r:id="rId4"/>
  </p:sldMasterIdLst>
  <p:notesMasterIdLst>
    <p:notesMasterId r:id="rId6"/>
  </p:notesMasterIdLst>
  <p:handoutMasterIdLst>
    <p:handoutMasterId r:id="rId7"/>
  </p:handoutMasterIdLst>
  <p:sldIdLst>
    <p:sldId id="2144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A8A8D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8" autoAdjust="0"/>
    <p:restoredTop sz="94291" autoAdjust="0"/>
  </p:normalViewPr>
  <p:slideViewPr>
    <p:cSldViewPr snapToGrid="0">
      <p:cViewPr varScale="1">
        <p:scale>
          <a:sx n="75" d="100"/>
          <a:sy n="75" d="100"/>
        </p:scale>
        <p:origin x="595" y="53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1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4" y="2683268"/>
            <a:ext cx="8402591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999"/>
              </a:lnSpc>
              <a:buNone/>
              <a:defRPr sz="1799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555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4" y="1395414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1395414"/>
            <a:ext cx="4072954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35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5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08845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307095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8" y="1395415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4" y="608972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4" y="6267182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1395415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2" y="608972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2" y="6267182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41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4479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5042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7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7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6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7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6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71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90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9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2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71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9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9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2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129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6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5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5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6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300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3000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8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4214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4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6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4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4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726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20"/>
            <a:ext cx="4145086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90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92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20"/>
            <a:ext cx="4103854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6" y="5416990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6" y="5676292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2668120"/>
            <a:ext cx="41302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90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92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6174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2" y="1946277"/>
            <a:ext cx="41285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8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9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1372455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1559553"/>
            <a:ext cx="4033067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2" y="1946278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29" y="5791664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29" y="5969116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6" y="1946277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3" y="4102377"/>
            <a:ext cx="1979396" cy="1593573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4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5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20" y="3572708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20" y="375016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5" y="4102375"/>
            <a:ext cx="3055939" cy="1593576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80" y="5791664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80" y="5969116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5" y="1946278"/>
            <a:ext cx="3055939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3" y="3577487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3" y="3754934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546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1427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2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28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71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4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9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278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3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3" y="1658710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3" y="1987013"/>
            <a:ext cx="6664200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770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199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2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218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9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6002" y="5102476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5999"/>
              </a:lnSpc>
              <a:defRPr sz="6599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62652" y="5789964"/>
            <a:ext cx="12305337" cy="455177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887" indent="0" algn="ctr">
              <a:buNone/>
              <a:defRPr sz="2099"/>
            </a:lvl2pPr>
            <a:lvl3pPr marL="961770" indent="0" algn="ctr">
              <a:buNone/>
              <a:defRPr sz="1899"/>
            </a:lvl3pPr>
            <a:lvl4pPr marL="1442659" indent="0" algn="ctr">
              <a:buNone/>
              <a:defRPr sz="1699"/>
            </a:lvl4pPr>
            <a:lvl5pPr marL="1923545" indent="0" algn="ctr">
              <a:buNone/>
              <a:defRPr sz="1699"/>
            </a:lvl5pPr>
            <a:lvl6pPr marL="2404431" indent="0" algn="ctr">
              <a:buNone/>
              <a:defRPr sz="1699"/>
            </a:lvl6pPr>
            <a:lvl7pPr marL="2885317" indent="0" algn="ctr">
              <a:buNone/>
              <a:defRPr sz="1699"/>
            </a:lvl7pPr>
            <a:lvl8pPr marL="3366203" indent="0" algn="ctr">
              <a:buNone/>
              <a:defRPr sz="1699"/>
            </a:lvl8pPr>
            <a:lvl9pPr marL="3847087" indent="0" algn="ctr">
              <a:buNone/>
              <a:defRPr sz="1699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9"/>
            <a:ext cx="13442950" cy="4560249"/>
          </a:xfrm>
          <a:solidFill>
            <a:schemeClr val="accent5"/>
          </a:solidFill>
          <a:ln>
            <a:noFill/>
          </a:ln>
        </p:spPr>
        <p:txBody>
          <a:bodyPr tIns="1440000" rtlCol="0">
            <a:noAutofit/>
          </a:bodyPr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32" y="6983350"/>
            <a:ext cx="1665481" cy="43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01677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90" y="1578329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2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610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7"/>
            <a:ext cx="4670103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5368925"/>
            <a:ext cx="4159249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080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1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4321276"/>
            <a:ext cx="4159249" cy="2566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10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550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1" y="1395413"/>
            <a:ext cx="12695650" cy="5672137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8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6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7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6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69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7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919288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5326243"/>
            <a:ext cx="4072954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892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3"/>
            <a:ext cx="12695650" cy="56721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6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4277034"/>
            <a:ext cx="4072954" cy="26104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060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4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4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3" y="270001"/>
            <a:ext cx="12413343" cy="29715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4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  <p:sldLayoutId id="2147484529" r:id="rId16"/>
    <p:sldLayoutId id="2147484530" r:id="rId17"/>
    <p:sldLayoutId id="2147484531" r:id="rId18"/>
    <p:sldLayoutId id="2147484532" r:id="rId19"/>
    <p:sldLayoutId id="2147484533" r:id="rId20"/>
    <p:sldLayoutId id="2147484534" r:id="rId21"/>
    <p:sldLayoutId id="2147484535" r:id="rId22"/>
    <p:sldLayoutId id="2147484536" r:id="rId23"/>
    <p:sldLayoutId id="2147484537" r:id="rId24"/>
    <p:sldLayoutId id="214748453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770" rtl="0" eaLnBrk="1" latinLnBrk="0" hangingPunct="1">
        <a:spcBef>
          <a:spcPct val="0"/>
        </a:spcBef>
        <a:buNone/>
        <a:defRPr sz="2801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770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770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770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873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759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646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532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8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77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659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545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431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31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203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0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jpeg"/><Relationship Id="rId21" Type="http://schemas.openxmlformats.org/officeDocument/2006/relationships/image" Target="../media/image22.png"/><Relationship Id="rId34" Type="http://schemas.openxmlformats.org/officeDocument/2006/relationships/image" Target="../media/image34.jpeg"/><Relationship Id="rId7" Type="http://schemas.microsoft.com/office/2007/relationships/hdphoto" Target="../media/hdphoto1.wdp"/><Relationship Id="rId12" Type="http://schemas.openxmlformats.org/officeDocument/2006/relationships/image" Target="../media/image13.jpe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3.png"/><Relationship Id="rId38" Type="http://schemas.openxmlformats.org/officeDocument/2006/relationships/image" Target="../media/image37.png"/><Relationship Id="rId2" Type="http://schemas.openxmlformats.org/officeDocument/2006/relationships/image" Target="../media/image4.png"/><Relationship Id="rId16" Type="http://schemas.openxmlformats.org/officeDocument/2006/relationships/image" Target="../media/image17.jpe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11" Type="http://schemas.openxmlformats.org/officeDocument/2006/relationships/image" Target="../media/image12.jpeg"/><Relationship Id="rId24" Type="http://schemas.openxmlformats.org/officeDocument/2006/relationships/image" Target="../media/image25.png"/><Relationship Id="rId32" Type="http://schemas.openxmlformats.org/officeDocument/2006/relationships/image" Target="../media/image32.png"/><Relationship Id="rId37" Type="http://schemas.openxmlformats.org/officeDocument/2006/relationships/image" Target="../media/image36.png"/><Relationship Id="rId5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jpeg"/><Relationship Id="rId28" Type="http://schemas.openxmlformats.org/officeDocument/2006/relationships/image" Target="../media/image29.jpeg"/><Relationship Id="rId36" Type="http://schemas.microsoft.com/office/2007/relationships/hdphoto" Target="../media/hdphoto3.wdp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1.jpeg"/><Relationship Id="rId4" Type="http://schemas.openxmlformats.org/officeDocument/2006/relationships/image" Target="../media/image6.png"/><Relationship Id="rId9" Type="http://schemas.openxmlformats.org/officeDocument/2006/relationships/image" Target="../media/image10.jpeg"/><Relationship Id="rId14" Type="http://schemas.openxmlformats.org/officeDocument/2006/relationships/image" Target="../media/image15.jpe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microsoft.com/office/2007/relationships/hdphoto" Target="../media/hdphoto2.wdp"/><Relationship Id="rId35" Type="http://schemas.openxmlformats.org/officeDocument/2006/relationships/image" Target="../media/image35.png"/><Relationship Id="rId8" Type="http://schemas.openxmlformats.org/officeDocument/2006/relationships/image" Target="../media/image9.png"/><Relationship Id="rId3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2499466-2933-9EE8-4434-27EF7B33A6B7}"/>
              </a:ext>
            </a:extLst>
          </p:cNvPr>
          <p:cNvCxnSpPr>
            <a:cxnSpLocks/>
          </p:cNvCxnSpPr>
          <p:nvPr/>
        </p:nvCxnSpPr>
        <p:spPr>
          <a:xfrm flipV="1">
            <a:off x="3985066" y="2511273"/>
            <a:ext cx="2508" cy="111640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98053D0C-F0EC-4447-B02F-6EAC2CBE599E}"/>
              </a:ext>
            </a:extLst>
          </p:cNvPr>
          <p:cNvCxnSpPr>
            <a:cxnSpLocks/>
          </p:cNvCxnSpPr>
          <p:nvPr/>
        </p:nvCxnSpPr>
        <p:spPr>
          <a:xfrm flipV="1">
            <a:off x="6211050" y="5019193"/>
            <a:ext cx="0" cy="61972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1675D2-1BF6-C9E6-E5EF-39BFB4252ACB}"/>
              </a:ext>
            </a:extLst>
          </p:cNvPr>
          <p:cNvCxnSpPr>
            <a:cxnSpLocks/>
          </p:cNvCxnSpPr>
          <p:nvPr/>
        </p:nvCxnSpPr>
        <p:spPr>
          <a:xfrm flipV="1">
            <a:off x="4339942" y="3825697"/>
            <a:ext cx="2508" cy="111640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428440A6-443F-22C2-691C-DA4A55995C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1982" y="2924209"/>
            <a:ext cx="1401004" cy="42872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1673B7F-3DD9-79C2-08C4-DC4BD7D80FA2}"/>
              </a:ext>
            </a:extLst>
          </p:cNvPr>
          <p:cNvCxnSpPr>
            <a:cxnSpLocks/>
          </p:cNvCxnSpPr>
          <p:nvPr/>
        </p:nvCxnSpPr>
        <p:spPr>
          <a:xfrm flipV="1">
            <a:off x="1579490" y="2931908"/>
            <a:ext cx="0" cy="8304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5FDA23-9FFD-44C8-B5FC-05743743EDDE}"/>
              </a:ext>
            </a:extLst>
          </p:cNvPr>
          <p:cNvCxnSpPr>
            <a:cxnSpLocks/>
          </p:cNvCxnSpPr>
          <p:nvPr/>
        </p:nvCxnSpPr>
        <p:spPr>
          <a:xfrm flipV="1">
            <a:off x="2249885" y="2348583"/>
            <a:ext cx="0" cy="150497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7FDC92BE-EE4A-E54C-BFF3-8CF766BB78B9}"/>
              </a:ext>
            </a:extLst>
          </p:cNvPr>
          <p:cNvSpPr txBox="1">
            <a:spLocks/>
          </p:cNvSpPr>
          <p:nvPr/>
        </p:nvSpPr>
        <p:spPr bwMode="gray">
          <a:xfrm>
            <a:off x="259028" y="183348"/>
            <a:ext cx="10435188" cy="4310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0" i="0" u="none" strike="noStrike" kern="1200" cap="all" spc="100" normalizeH="0" baseline="0" noProof="0" dirty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j-ea"/>
                <a:cs typeface="+mj-cs"/>
              </a:rPr>
              <a:t>FILM SLATE 2024</a:t>
            </a:r>
          </a:p>
        </p:txBody>
      </p:sp>
      <p:sp>
        <p:nvSpPr>
          <p:cNvPr id="22" name="AutoShape 10" descr="Image result for gambit logo">
            <a:extLst>
              <a:ext uri="{FF2B5EF4-FFF2-40B4-BE49-F238E27FC236}">
                <a16:creationId xmlns:a16="http://schemas.microsoft.com/office/drawing/2014/main" id="{2438FAE9-DF04-D94C-9801-CBBF9BDDE9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452645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D7DCF25-EB44-7B4B-A4F6-002C7D9BCB0B}"/>
              </a:ext>
            </a:extLst>
          </p:cNvPr>
          <p:cNvCxnSpPr>
            <a:cxnSpLocks/>
          </p:cNvCxnSpPr>
          <p:nvPr/>
        </p:nvCxnSpPr>
        <p:spPr>
          <a:xfrm flipV="1">
            <a:off x="908539" y="3596399"/>
            <a:ext cx="0" cy="106683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8" descr="Respect (2021 film) - Wikipedia">
            <a:extLst>
              <a:ext uri="{FF2B5EF4-FFF2-40B4-BE49-F238E27FC236}">
                <a16:creationId xmlns:a16="http://schemas.microsoft.com/office/drawing/2014/main" id="{ABCE86EF-A500-487D-B55B-5F8E6976DB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627447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12ABDCB-4F78-41A6-84AE-915E56A657A5}"/>
              </a:ext>
            </a:extLst>
          </p:cNvPr>
          <p:cNvGrpSpPr/>
          <p:nvPr/>
        </p:nvGrpSpPr>
        <p:grpSpPr>
          <a:xfrm>
            <a:off x="0" y="3596399"/>
            <a:ext cx="13442951" cy="288000"/>
            <a:chOff x="0" y="3590945"/>
            <a:chExt cx="13442951" cy="288000"/>
          </a:xfrm>
        </p:grpSpPr>
        <p:sp>
          <p:nvSpPr>
            <p:cNvPr id="55" name="Rectangle: Rounded Corners 3">
              <a:extLst>
                <a:ext uri="{FF2B5EF4-FFF2-40B4-BE49-F238E27FC236}">
                  <a16:creationId xmlns:a16="http://schemas.microsoft.com/office/drawing/2014/main" id="{81113650-8D03-47D7-B289-DF003545C79F}"/>
                </a:ext>
              </a:extLst>
            </p:cNvPr>
            <p:cNvSpPr/>
            <p:nvPr/>
          </p:nvSpPr>
          <p:spPr>
            <a:xfrm>
              <a:off x="0" y="3590945"/>
              <a:ext cx="13442951" cy="28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84" b="0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pact"/>
                <a:ea typeface="+mn-ea"/>
                <a:cs typeface="+mn-cs"/>
              </a:endParaRP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CA55D575-4975-4C7E-B787-7FBA3A4DF9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2973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 dirty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JAN</a:t>
              </a:r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id="{216F97A8-D6A9-426E-9740-91E00B0381D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13291" y="3658365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 dirty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Feb</a:t>
              </a:r>
            </a:p>
          </p:txBody>
        </p:sp>
        <p:sp>
          <p:nvSpPr>
            <p:cNvPr id="69" name="Title 1">
              <a:extLst>
                <a:ext uri="{FF2B5EF4-FFF2-40B4-BE49-F238E27FC236}">
                  <a16:creationId xmlns:a16="http://schemas.microsoft.com/office/drawing/2014/main" id="{1AB92A3A-9BF6-4458-9428-B45840A86A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78331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" name="Title 1">
              <a:extLst>
                <a:ext uri="{FF2B5EF4-FFF2-40B4-BE49-F238E27FC236}">
                  <a16:creationId xmlns:a16="http://schemas.microsoft.com/office/drawing/2014/main" id="{FD777305-2577-4279-A395-62076DA5AE7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859872" y="3667290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 dirty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Mar</a:t>
              </a:r>
            </a:p>
          </p:txBody>
        </p:sp>
        <p:sp>
          <p:nvSpPr>
            <p:cNvPr id="72" name="Title 1">
              <a:extLst>
                <a:ext uri="{FF2B5EF4-FFF2-40B4-BE49-F238E27FC236}">
                  <a16:creationId xmlns:a16="http://schemas.microsoft.com/office/drawing/2014/main" id="{DBC1C7C6-CE7E-488D-BBE5-55134C385E5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49359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00BC2E8E-4561-4847-956D-917BB8AFD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8487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FAE185E-9170-4837-870D-666400CE4073}"/>
              </a:ext>
            </a:extLst>
          </p:cNvPr>
          <p:cNvCxnSpPr>
            <a:cxnSpLocks/>
          </p:cNvCxnSpPr>
          <p:nvPr/>
        </p:nvCxnSpPr>
        <p:spPr>
          <a:xfrm flipV="1">
            <a:off x="1683830" y="3843729"/>
            <a:ext cx="0" cy="167768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B09EF72-1925-4D5C-A844-096519EA64A4}"/>
              </a:ext>
            </a:extLst>
          </p:cNvPr>
          <p:cNvCxnSpPr>
            <a:cxnSpLocks/>
          </p:cNvCxnSpPr>
          <p:nvPr/>
        </p:nvCxnSpPr>
        <p:spPr>
          <a:xfrm flipV="1">
            <a:off x="2249885" y="3807299"/>
            <a:ext cx="0" cy="47800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The Color Purple (2023) - IMDb">
            <a:extLst>
              <a:ext uri="{FF2B5EF4-FFF2-40B4-BE49-F238E27FC236}">
                <a16:creationId xmlns:a16="http://schemas.microsoft.com/office/drawing/2014/main" id="{89BFB311-7B50-4036-A281-D4A880A5F3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4985" y="4741118"/>
            <a:ext cx="1033686" cy="636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MADAME WEB Logo PNG Movie 2024 dakota johnson by Andrewvm on DeviantArt">
            <a:extLst>
              <a:ext uri="{FF2B5EF4-FFF2-40B4-BE49-F238E27FC236}">
                <a16:creationId xmlns:a16="http://schemas.microsoft.com/office/drawing/2014/main" id="{44727EF8-EBE2-431B-9567-B2560477D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6117" y="4267174"/>
            <a:ext cx="1410255" cy="792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147C9F-CFB5-1744-51E9-068D645D63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4425" y="1719071"/>
            <a:ext cx="1000137" cy="51662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80B3D9-0FF2-D8AA-7486-608834A7E300}"/>
              </a:ext>
            </a:extLst>
          </p:cNvPr>
          <p:cNvCxnSpPr>
            <a:cxnSpLocks/>
          </p:cNvCxnSpPr>
          <p:nvPr/>
        </p:nvCxnSpPr>
        <p:spPr>
          <a:xfrm flipV="1">
            <a:off x="3017277" y="3241171"/>
            <a:ext cx="5156" cy="35565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itle 1">
            <a:extLst>
              <a:ext uri="{FF2B5EF4-FFF2-40B4-BE49-F238E27FC236}">
                <a16:creationId xmlns:a16="http://schemas.microsoft.com/office/drawing/2014/main" id="{0BDD5A2E-FC45-35FF-7C69-B8021B8546F3}"/>
              </a:ext>
            </a:extLst>
          </p:cNvPr>
          <p:cNvSpPr txBox="1">
            <a:spLocks/>
          </p:cNvSpPr>
          <p:nvPr/>
        </p:nvSpPr>
        <p:spPr bwMode="gray">
          <a:xfrm>
            <a:off x="5316993" y="3675833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AY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B99C3FB7-9DD3-A058-652D-59DCDB748821}"/>
              </a:ext>
            </a:extLst>
          </p:cNvPr>
          <p:cNvSpPr txBox="1">
            <a:spLocks/>
          </p:cNvSpPr>
          <p:nvPr/>
        </p:nvSpPr>
        <p:spPr bwMode="gray">
          <a:xfrm>
            <a:off x="645053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N</a:t>
            </a:r>
          </a:p>
        </p:txBody>
      </p:sp>
      <p:pic>
        <p:nvPicPr>
          <p:cNvPr id="67" name="Picture 66" descr="A picture containing logo, graphics, screenshot, graphic design&#10;&#10;Description automatically generated">
            <a:extLst>
              <a:ext uri="{FF2B5EF4-FFF2-40B4-BE49-F238E27FC236}">
                <a16:creationId xmlns:a16="http://schemas.microsoft.com/office/drawing/2014/main" id="{14D0011D-9B51-7C0B-7F87-B9490B024BB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4381" b="66286" l="11286" r="86429">
                        <a14:foregroundMark x1="79000" y1="37333" x2="80143" y2="37524"/>
                        <a14:foregroundMark x1="81857" y1="36381" x2="82000" y2="34476"/>
                        <a14:foregroundMark x1="86286" y1="36952" x2="86571" y2="37048"/>
                        <a14:foregroundMark x1="49857" y1="36381" x2="51000" y2="43810"/>
                        <a14:foregroundMark x1="51000" y1="43810" x2="51000" y2="43810"/>
                        <a14:foregroundMark x1="16429" y1="65333" x2="44143" y2="59048"/>
                        <a14:foregroundMark x1="11286" y1="66286" x2="11286" y2="66286"/>
                        <a14:foregroundMark x1="45000" y1="63524" x2="64571" y2="575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363" t="32750" r="10668" b="32795"/>
          <a:stretch/>
        </p:blipFill>
        <p:spPr>
          <a:xfrm>
            <a:off x="5780017" y="5194462"/>
            <a:ext cx="659283" cy="415683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337C61C3-23D4-A1E9-B41F-3A07D094D34B}"/>
              </a:ext>
            </a:extLst>
          </p:cNvPr>
          <p:cNvSpPr txBox="1">
            <a:spLocks/>
          </p:cNvSpPr>
          <p:nvPr/>
        </p:nvSpPr>
        <p:spPr bwMode="gray">
          <a:xfrm>
            <a:off x="4262246" y="3654588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PR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C1DFEF9-0386-4FB3-B006-E6D86CB58040}"/>
              </a:ext>
            </a:extLst>
          </p:cNvPr>
          <p:cNvCxnSpPr>
            <a:cxnSpLocks/>
          </p:cNvCxnSpPr>
          <p:nvPr/>
        </p:nvCxnSpPr>
        <p:spPr>
          <a:xfrm flipV="1">
            <a:off x="6220161" y="3807299"/>
            <a:ext cx="0" cy="61972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itle 1">
            <a:extLst>
              <a:ext uri="{FF2B5EF4-FFF2-40B4-BE49-F238E27FC236}">
                <a16:creationId xmlns:a16="http://schemas.microsoft.com/office/drawing/2014/main" id="{E95A1948-3807-E82E-5CA4-EB81D9725914}"/>
              </a:ext>
            </a:extLst>
          </p:cNvPr>
          <p:cNvSpPr txBox="1">
            <a:spLocks/>
          </p:cNvSpPr>
          <p:nvPr/>
        </p:nvSpPr>
        <p:spPr bwMode="gray">
          <a:xfrm>
            <a:off x="7758767" y="3669032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L</a:t>
            </a: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508225DC-72F5-880C-F8D6-636C91ACA82E}"/>
              </a:ext>
            </a:extLst>
          </p:cNvPr>
          <p:cNvSpPr txBox="1">
            <a:spLocks/>
          </p:cNvSpPr>
          <p:nvPr/>
        </p:nvSpPr>
        <p:spPr bwMode="gray">
          <a:xfrm>
            <a:off x="876559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G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33120328-BA13-A284-35F3-72BFE4235074}"/>
              </a:ext>
            </a:extLst>
          </p:cNvPr>
          <p:cNvSpPr txBox="1">
            <a:spLocks/>
          </p:cNvSpPr>
          <p:nvPr/>
        </p:nvSpPr>
        <p:spPr bwMode="gray">
          <a:xfrm>
            <a:off x="9818554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PT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7869372B-B14D-4D99-5B22-5CEF4BB551C9}"/>
              </a:ext>
            </a:extLst>
          </p:cNvPr>
          <p:cNvSpPr txBox="1">
            <a:spLocks/>
          </p:cNvSpPr>
          <p:nvPr/>
        </p:nvSpPr>
        <p:spPr bwMode="gray">
          <a:xfrm>
            <a:off x="10591667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CT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76E5660B-4667-4589-A7ED-371A8F5036C5}"/>
              </a:ext>
            </a:extLst>
          </p:cNvPr>
          <p:cNvSpPr txBox="1">
            <a:spLocks/>
          </p:cNvSpPr>
          <p:nvPr/>
        </p:nvSpPr>
        <p:spPr bwMode="gray">
          <a:xfrm>
            <a:off x="11484873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OV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CC74D5E2-B0EA-6661-7B0E-44B447FEF59E}"/>
              </a:ext>
            </a:extLst>
          </p:cNvPr>
          <p:cNvSpPr txBox="1">
            <a:spLocks/>
          </p:cNvSpPr>
          <p:nvPr/>
        </p:nvSpPr>
        <p:spPr bwMode="gray">
          <a:xfrm>
            <a:off x="12444071" y="3654588"/>
            <a:ext cx="387185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1ADC04-6B0A-D4F7-3D30-194431CBCE6B}"/>
              </a:ext>
            </a:extLst>
          </p:cNvPr>
          <p:cNvCxnSpPr>
            <a:cxnSpLocks/>
          </p:cNvCxnSpPr>
          <p:nvPr/>
        </p:nvCxnSpPr>
        <p:spPr>
          <a:xfrm flipH="1" flipV="1">
            <a:off x="7302581" y="3755942"/>
            <a:ext cx="2281" cy="60689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C437365B-C987-9130-E119-5615F09BD91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3510" y="2214573"/>
            <a:ext cx="1278866" cy="696977"/>
          </a:xfrm>
          <a:prstGeom prst="rect">
            <a:avLst/>
          </a:prstGeom>
        </p:spPr>
      </p:pic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D5CB633-F2BB-1F05-70A2-11D50AA34C4B}"/>
              </a:ext>
            </a:extLst>
          </p:cNvPr>
          <p:cNvCxnSpPr>
            <a:cxnSpLocks/>
          </p:cNvCxnSpPr>
          <p:nvPr/>
        </p:nvCxnSpPr>
        <p:spPr>
          <a:xfrm flipV="1">
            <a:off x="7120342" y="2977045"/>
            <a:ext cx="8674" cy="79458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C22B86F-AF5F-1DAC-F321-5B29141DC33A}"/>
              </a:ext>
            </a:extLst>
          </p:cNvPr>
          <p:cNvCxnSpPr>
            <a:cxnSpLocks/>
          </p:cNvCxnSpPr>
          <p:nvPr/>
        </p:nvCxnSpPr>
        <p:spPr>
          <a:xfrm flipH="1" flipV="1">
            <a:off x="8162178" y="3619958"/>
            <a:ext cx="3131" cy="14393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4ABB596-4C8F-360A-B917-3950F0B4608C}"/>
              </a:ext>
            </a:extLst>
          </p:cNvPr>
          <p:cNvCxnSpPr>
            <a:cxnSpLocks/>
          </p:cNvCxnSpPr>
          <p:nvPr/>
        </p:nvCxnSpPr>
        <p:spPr>
          <a:xfrm flipV="1">
            <a:off x="11278994" y="3436188"/>
            <a:ext cx="0" cy="88038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7AB8F473-1CA1-AD3A-6BB7-010B7B7D962D}"/>
              </a:ext>
            </a:extLst>
          </p:cNvPr>
          <p:cNvCxnSpPr>
            <a:cxnSpLocks/>
          </p:cNvCxnSpPr>
          <p:nvPr/>
        </p:nvCxnSpPr>
        <p:spPr>
          <a:xfrm flipV="1">
            <a:off x="10268034" y="3688902"/>
            <a:ext cx="0" cy="137508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Picture 107">
            <a:extLst>
              <a:ext uri="{FF2B5EF4-FFF2-40B4-BE49-F238E27FC236}">
                <a16:creationId xmlns:a16="http://schemas.microsoft.com/office/drawing/2014/main" id="{30960061-C4C5-78C2-0B78-D36983DA6CA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89943" y="1766777"/>
            <a:ext cx="1206244" cy="947463"/>
          </a:xfrm>
          <a:prstGeom prst="rect">
            <a:avLst/>
          </a:prstGeom>
        </p:spPr>
      </p:pic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10299A-763F-7007-C165-D46BFDEC1F44}"/>
              </a:ext>
            </a:extLst>
          </p:cNvPr>
          <p:cNvCxnSpPr>
            <a:cxnSpLocks/>
          </p:cNvCxnSpPr>
          <p:nvPr/>
        </p:nvCxnSpPr>
        <p:spPr>
          <a:xfrm flipV="1">
            <a:off x="10825343" y="2791489"/>
            <a:ext cx="0" cy="81354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0E04F46F-08B6-5C33-9797-02E557C1D67F}"/>
              </a:ext>
            </a:extLst>
          </p:cNvPr>
          <p:cNvCxnSpPr>
            <a:cxnSpLocks/>
          </p:cNvCxnSpPr>
          <p:nvPr/>
        </p:nvCxnSpPr>
        <p:spPr>
          <a:xfrm flipH="1" flipV="1">
            <a:off x="11993681" y="1128774"/>
            <a:ext cx="17825" cy="275562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116">
            <a:extLst>
              <a:ext uri="{FF2B5EF4-FFF2-40B4-BE49-F238E27FC236}">
                <a16:creationId xmlns:a16="http://schemas.microsoft.com/office/drawing/2014/main" id="{910C3276-6D34-973C-C3F9-F2A6A1042429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04740" y="2918906"/>
            <a:ext cx="1090070" cy="323262"/>
          </a:xfrm>
          <a:prstGeom prst="rect">
            <a:avLst/>
          </a:prstGeom>
        </p:spPr>
      </p:pic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861C4B33-6C2A-6910-C2A9-DDE6E79BC2B8}"/>
              </a:ext>
            </a:extLst>
          </p:cNvPr>
          <p:cNvCxnSpPr>
            <a:cxnSpLocks/>
          </p:cNvCxnSpPr>
          <p:nvPr/>
        </p:nvCxnSpPr>
        <p:spPr>
          <a:xfrm flipV="1">
            <a:off x="13025491" y="3248406"/>
            <a:ext cx="0" cy="106286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F480BE05-4C51-9F22-3ACD-7C7FF16F234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84027" y="5108332"/>
            <a:ext cx="1558799" cy="587944"/>
          </a:xfrm>
          <a:prstGeom prst="rect">
            <a:avLst/>
          </a:prstGeom>
        </p:spPr>
      </p:pic>
      <p:pic>
        <p:nvPicPr>
          <p:cNvPr id="17410" name="Picture 2" descr="Brand New Ghostbusters Sequel Logo Teases Christmas Movie?">
            <a:extLst>
              <a:ext uri="{FF2B5EF4-FFF2-40B4-BE49-F238E27FC236}">
                <a16:creationId xmlns:a16="http://schemas.microsoft.com/office/drawing/2014/main" id="{8BDDF615-CC29-B552-E318-4E508C9BF9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5756" y="1558941"/>
            <a:ext cx="1013563" cy="85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F634BB-02DD-DB4A-A9BF-EE3A688E4DFD}"/>
              </a:ext>
            </a:extLst>
          </p:cNvPr>
          <p:cNvCxnSpPr>
            <a:cxnSpLocks/>
          </p:cNvCxnSpPr>
          <p:nvPr/>
        </p:nvCxnSpPr>
        <p:spPr>
          <a:xfrm flipV="1">
            <a:off x="9919599" y="3312291"/>
            <a:ext cx="0" cy="34337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401E054-DAC9-F24B-2C10-E9379BD92649}"/>
              </a:ext>
            </a:extLst>
          </p:cNvPr>
          <p:cNvCxnSpPr>
            <a:cxnSpLocks/>
          </p:cNvCxnSpPr>
          <p:nvPr/>
        </p:nvCxnSpPr>
        <p:spPr>
          <a:xfrm>
            <a:off x="12129102" y="3653237"/>
            <a:ext cx="0" cy="16009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128C9419-6975-9145-60FC-A1D59B4CA037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224" y="1805174"/>
            <a:ext cx="992631" cy="650751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C41643C-EDA7-A47E-82C6-6EFF9263DC2A}"/>
              </a:ext>
            </a:extLst>
          </p:cNvPr>
          <p:cNvCxnSpPr>
            <a:cxnSpLocks/>
          </p:cNvCxnSpPr>
          <p:nvPr/>
        </p:nvCxnSpPr>
        <p:spPr>
          <a:xfrm flipV="1">
            <a:off x="797694" y="2571593"/>
            <a:ext cx="0" cy="102480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F275737E-45D0-C7D8-E9EA-4754FD9DEEE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1653" y="2788811"/>
            <a:ext cx="1105892" cy="532610"/>
          </a:xfrm>
          <a:prstGeom prst="rect">
            <a:avLst/>
          </a:prstGeom>
        </p:spPr>
      </p:pic>
      <p:pic>
        <p:nvPicPr>
          <p:cNvPr id="8" name="Picture 7" descr="A yellow letter in a black background&#10;&#10;Description automatically generated">
            <a:extLst>
              <a:ext uri="{FF2B5EF4-FFF2-40B4-BE49-F238E27FC236}">
                <a16:creationId xmlns:a16="http://schemas.microsoft.com/office/drawing/2014/main" id="{995F673E-C250-47A3-ABAF-108CA557548E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1743" y="880335"/>
            <a:ext cx="2565357" cy="326500"/>
          </a:xfrm>
          <a:prstGeom prst="rect">
            <a:avLst/>
          </a:prstGeom>
        </p:spPr>
      </p:pic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4995846-4485-40B6-9FDD-EFF87041C593}"/>
              </a:ext>
            </a:extLst>
          </p:cNvPr>
          <p:cNvCxnSpPr>
            <a:cxnSpLocks/>
          </p:cNvCxnSpPr>
          <p:nvPr/>
        </p:nvCxnSpPr>
        <p:spPr>
          <a:xfrm flipV="1">
            <a:off x="12304740" y="2444129"/>
            <a:ext cx="0" cy="135497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green and black text&#10;&#10;Description automatically generated">
            <a:extLst>
              <a:ext uri="{FF2B5EF4-FFF2-40B4-BE49-F238E27FC236}">
                <a16:creationId xmlns:a16="http://schemas.microsoft.com/office/drawing/2014/main" id="{07371534-D1A6-4F3C-8B1C-654700A65FD1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81560" y="1815452"/>
            <a:ext cx="1292004" cy="591552"/>
          </a:xfrm>
          <a:prstGeom prst="rect">
            <a:avLst/>
          </a:prstGeom>
        </p:spPr>
      </p:pic>
      <p:pic>
        <p:nvPicPr>
          <p:cNvPr id="30" name="Picture 29" descr="A close up of text&#10;&#10;Description automatically generated">
            <a:extLst>
              <a:ext uri="{FF2B5EF4-FFF2-40B4-BE49-F238E27FC236}">
                <a16:creationId xmlns:a16="http://schemas.microsoft.com/office/drawing/2014/main" id="{B019852F-9422-4769-8E2D-8283031373C7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803" y="5558595"/>
            <a:ext cx="2431233" cy="820784"/>
          </a:xfrm>
          <a:prstGeom prst="rect">
            <a:avLst/>
          </a:prstGeom>
        </p:spPr>
      </p:pic>
      <p:pic>
        <p:nvPicPr>
          <p:cNvPr id="33" name="Picture 32" descr="A gold text on a black background&#10;&#10;Description automatically generated">
            <a:extLst>
              <a:ext uri="{FF2B5EF4-FFF2-40B4-BE49-F238E27FC236}">
                <a16:creationId xmlns:a16="http://schemas.microsoft.com/office/drawing/2014/main" id="{99D06AEA-A907-440D-A976-0E5BBBB280F2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9169"/>
          <a:stretch/>
        </p:blipFill>
        <p:spPr>
          <a:xfrm>
            <a:off x="872821" y="2646002"/>
            <a:ext cx="1279407" cy="230522"/>
          </a:xfrm>
          <a:prstGeom prst="rect">
            <a:avLst/>
          </a:prstGeom>
        </p:spPr>
      </p:pic>
      <p:pic>
        <p:nvPicPr>
          <p:cNvPr id="45" name="Picture 44" descr="A black background with orange letters&#10;&#10;Description automatically generated">
            <a:extLst>
              <a:ext uri="{FF2B5EF4-FFF2-40B4-BE49-F238E27FC236}">
                <a16:creationId xmlns:a16="http://schemas.microsoft.com/office/drawing/2014/main" id="{269E0F8B-608C-4F0B-B8F0-63D97D594416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8368" y="2621116"/>
            <a:ext cx="2355490" cy="708487"/>
          </a:xfrm>
          <a:prstGeom prst="rect">
            <a:avLst/>
          </a:prstGeom>
        </p:spPr>
      </p:pic>
      <p:pic>
        <p:nvPicPr>
          <p:cNvPr id="49" name="Picture 48" descr="A green and gold text&#10;&#10;Description automatically generated">
            <a:extLst>
              <a:ext uri="{FF2B5EF4-FFF2-40B4-BE49-F238E27FC236}">
                <a16:creationId xmlns:a16="http://schemas.microsoft.com/office/drawing/2014/main" id="{8B9BBB8E-65BA-4181-9DA3-24F83FE0CB25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6592" y="4853862"/>
            <a:ext cx="1681103" cy="1013385"/>
          </a:xfrm>
          <a:prstGeom prst="rect">
            <a:avLst/>
          </a:prstGeom>
        </p:spPr>
      </p:pic>
      <p:pic>
        <p:nvPicPr>
          <p:cNvPr id="59" name="Picture 58" descr="A logo with a red circle and black background&#10;&#10;Description automatically generated">
            <a:extLst>
              <a:ext uri="{FF2B5EF4-FFF2-40B4-BE49-F238E27FC236}">
                <a16:creationId xmlns:a16="http://schemas.microsoft.com/office/drawing/2014/main" id="{35EAF326-33C0-4121-A529-24F4B77EFEEE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96" r="21757"/>
          <a:stretch/>
        </p:blipFill>
        <p:spPr>
          <a:xfrm>
            <a:off x="8072706" y="1292881"/>
            <a:ext cx="1094917" cy="1076174"/>
          </a:xfrm>
          <a:prstGeom prst="rect">
            <a:avLst/>
          </a:prstGeom>
        </p:spPr>
      </p:pic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086FA9E-727F-4B35-BDE1-A088458977AB}"/>
              </a:ext>
            </a:extLst>
          </p:cNvPr>
          <p:cNvCxnSpPr>
            <a:cxnSpLocks/>
          </p:cNvCxnSpPr>
          <p:nvPr/>
        </p:nvCxnSpPr>
        <p:spPr>
          <a:xfrm flipH="1" flipV="1">
            <a:off x="7842234" y="3401800"/>
            <a:ext cx="10504" cy="36972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Picture 94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9F60FB31-69A3-4F15-B0F5-6F6EF1040823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7384" y="4326756"/>
            <a:ext cx="729829" cy="615343"/>
          </a:xfrm>
          <a:prstGeom prst="rect">
            <a:avLst/>
          </a:prstGeom>
        </p:spPr>
      </p:pic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9139496-1CED-4D22-9111-F149DF52CCA4}"/>
              </a:ext>
            </a:extLst>
          </p:cNvPr>
          <p:cNvCxnSpPr>
            <a:cxnSpLocks/>
          </p:cNvCxnSpPr>
          <p:nvPr/>
        </p:nvCxnSpPr>
        <p:spPr>
          <a:xfrm>
            <a:off x="8633510" y="2395185"/>
            <a:ext cx="0" cy="127755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119" descr="A person standing in front of a screen&#10;&#10;Description automatically generated">
            <a:extLst>
              <a:ext uri="{FF2B5EF4-FFF2-40B4-BE49-F238E27FC236}">
                <a16:creationId xmlns:a16="http://schemas.microsoft.com/office/drawing/2014/main" id="{339913A8-3926-4161-9BD4-E865B0E119C1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14674" y="2964850"/>
            <a:ext cx="934000" cy="456556"/>
          </a:xfrm>
          <a:prstGeom prst="rect">
            <a:avLst/>
          </a:prstGeom>
        </p:spPr>
      </p:pic>
      <p:pic>
        <p:nvPicPr>
          <p:cNvPr id="139" name="Picture 138" descr="A red and black logo&#10;&#10;Description automatically generated">
            <a:extLst>
              <a:ext uri="{FF2B5EF4-FFF2-40B4-BE49-F238E27FC236}">
                <a16:creationId xmlns:a16="http://schemas.microsoft.com/office/drawing/2014/main" id="{C10D06A1-DF79-42F9-8475-580948C0A5D7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1170" y="4364582"/>
            <a:ext cx="1131992" cy="340482"/>
          </a:xfrm>
          <a:prstGeom prst="rect">
            <a:avLst/>
          </a:prstGeom>
        </p:spPr>
      </p:pic>
      <p:pic>
        <p:nvPicPr>
          <p:cNvPr id="142" name="Picture 141" descr="A close up of a letter&#10;&#10;Description automatically generated">
            <a:extLst>
              <a:ext uri="{FF2B5EF4-FFF2-40B4-BE49-F238E27FC236}">
                <a16:creationId xmlns:a16="http://schemas.microsoft.com/office/drawing/2014/main" id="{65EB815A-88F3-4301-8CFE-D0DBA4BCB1BF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7294" y="5463540"/>
            <a:ext cx="2167634" cy="316678"/>
          </a:xfrm>
          <a:prstGeom prst="rect">
            <a:avLst/>
          </a:prstGeom>
        </p:spPr>
      </p:pic>
      <p:pic>
        <p:nvPicPr>
          <p:cNvPr id="149" name="Picture 148" descr="A black and white logo&#10;&#10;Description automatically generated">
            <a:extLst>
              <a:ext uri="{FF2B5EF4-FFF2-40B4-BE49-F238E27FC236}">
                <a16:creationId xmlns:a16="http://schemas.microsoft.com/office/drawing/2014/main" id="{E4036EAD-16AD-49BD-A553-E40A165961DB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4488" y="4047740"/>
            <a:ext cx="1553125" cy="559964"/>
          </a:xfrm>
          <a:prstGeom prst="rect">
            <a:avLst/>
          </a:prstGeom>
        </p:spPr>
      </p:pic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30D662C9-B089-4F9B-885D-32E83688AE2F}"/>
              </a:ext>
            </a:extLst>
          </p:cNvPr>
          <p:cNvCxnSpPr>
            <a:cxnSpLocks/>
          </p:cNvCxnSpPr>
          <p:nvPr/>
        </p:nvCxnSpPr>
        <p:spPr>
          <a:xfrm flipV="1">
            <a:off x="6220161" y="4471867"/>
            <a:ext cx="0" cy="38476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black and white logo&#10;&#10;Description automatically generated">
            <a:extLst>
              <a:ext uri="{FF2B5EF4-FFF2-40B4-BE49-F238E27FC236}">
                <a16:creationId xmlns:a16="http://schemas.microsoft.com/office/drawing/2014/main" id="{168B31D6-AE94-40C9-A6C5-EC846029E5ED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11"/>
          <a:stretch/>
        </p:blipFill>
        <p:spPr>
          <a:xfrm>
            <a:off x="4923977" y="1680063"/>
            <a:ext cx="1565977" cy="61976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83941F2-5AA3-374F-EEE8-A307005B533D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55897" y="4397922"/>
            <a:ext cx="1433339" cy="62127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3C79461-5764-B9B3-320E-1369F9C43541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10000" b="90000" l="10000" r="90000">
                        <a14:foregroundMark x1="48438" y1="45694" x2="48438" y2="45694"/>
                        <a14:foregroundMark x1="66250" y1="55278" x2="66250" y2="55278"/>
                        <a14:foregroundMark x1="28672" y1="31806" x2="28672" y2="31806"/>
                        <a14:foregroundMark x1="30938" y1="31806" x2="30938" y2="31806"/>
                        <a14:foregroundMark x1="37266" y1="31806" x2="37266" y2="31806"/>
                        <a14:foregroundMark x1="41875" y1="31389" x2="41875" y2="31389"/>
                        <a14:foregroundMark x1="47891" y1="25694" x2="47891" y2="25694"/>
                        <a14:foregroundMark x1="51016" y1="23750" x2="51016" y2="23750"/>
                        <a14:foregroundMark x1="57656" y1="23194" x2="57656" y2="23194"/>
                        <a14:foregroundMark x1="61953" y1="23194" x2="61953" y2="23194"/>
                        <a14:foregroundMark x1="66797" y1="22639" x2="66797" y2="22639"/>
                        <a14:foregroundMark x1="71953" y1="26806" x2="71953" y2="26806"/>
                        <a14:backgroundMark x1="57031" y1="24583" x2="57031" y2="24583"/>
                        <a14:backgroundMark x1="63203" y1="20694" x2="63203" y2="20694"/>
                        <a14:backgroundMark x1="63125" y1="29583" x2="63125" y2="295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5472" y="5043345"/>
            <a:ext cx="1782364" cy="1002580"/>
          </a:xfrm>
          <a:prstGeom prst="rect">
            <a:avLst/>
          </a:prstGeom>
        </p:spPr>
      </p:pic>
      <p:pic>
        <p:nvPicPr>
          <p:cNvPr id="27" name="Picture 26" descr="A black and white text&#10;&#10;Description automatically generated">
            <a:extLst>
              <a:ext uri="{FF2B5EF4-FFF2-40B4-BE49-F238E27FC236}">
                <a16:creationId xmlns:a16="http://schemas.microsoft.com/office/drawing/2014/main" id="{33D1D807-6CD3-C551-A108-3099B8620891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56" t="40693" r="34059" b="39099"/>
          <a:stretch/>
        </p:blipFill>
        <p:spPr>
          <a:xfrm>
            <a:off x="8420274" y="4539874"/>
            <a:ext cx="1782362" cy="205053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273B56-B96D-DECC-0A20-EA59D3A78B7E}"/>
              </a:ext>
            </a:extLst>
          </p:cNvPr>
          <p:cNvCxnSpPr>
            <a:cxnSpLocks/>
          </p:cNvCxnSpPr>
          <p:nvPr/>
        </p:nvCxnSpPr>
        <p:spPr>
          <a:xfrm>
            <a:off x="9476790" y="3594370"/>
            <a:ext cx="0" cy="85368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A yellow text on a black background&#10;&#10;Description automatically generated">
            <a:extLst>
              <a:ext uri="{FF2B5EF4-FFF2-40B4-BE49-F238E27FC236}">
                <a16:creationId xmlns:a16="http://schemas.microsoft.com/office/drawing/2014/main" id="{5D267131-A166-52A5-91C0-E7029B3206B1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3667" y="2319651"/>
            <a:ext cx="1278866" cy="434213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202BC3D-E284-44A5-ECC5-CD2C9BFB980F}"/>
              </a:ext>
            </a:extLst>
          </p:cNvPr>
          <p:cNvCxnSpPr>
            <a:cxnSpLocks/>
          </p:cNvCxnSpPr>
          <p:nvPr/>
        </p:nvCxnSpPr>
        <p:spPr>
          <a:xfrm flipH="1">
            <a:off x="9309506" y="2714240"/>
            <a:ext cx="20677" cy="109305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Picture 102" descr="A logo of a movie&#10;&#10;Description automatically generated">
            <a:extLst>
              <a:ext uri="{FF2B5EF4-FFF2-40B4-BE49-F238E27FC236}">
                <a16:creationId xmlns:a16="http://schemas.microsoft.com/office/drawing/2014/main" id="{BAB58DA6-6307-4161-8383-758EAC8F4CF7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41537" y="2828092"/>
            <a:ext cx="1135357" cy="474653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2BB10AF-FC20-DD1C-8BAF-CB8E6599AC59}"/>
              </a:ext>
            </a:extLst>
          </p:cNvPr>
          <p:cNvCxnSpPr>
            <a:cxnSpLocks/>
          </p:cNvCxnSpPr>
          <p:nvPr/>
        </p:nvCxnSpPr>
        <p:spPr>
          <a:xfrm flipH="1" flipV="1">
            <a:off x="5566035" y="2366825"/>
            <a:ext cx="3131" cy="14393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51" descr="A movie poster with smoke and words&#10;&#10;Description automatically generated with medium confidence">
            <a:extLst>
              <a:ext uri="{FF2B5EF4-FFF2-40B4-BE49-F238E27FC236}">
                <a16:creationId xmlns:a16="http://schemas.microsoft.com/office/drawing/2014/main" id="{8C6D5211-5A4D-4AFE-8DDC-1214F97CAEC4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356" y="4139485"/>
            <a:ext cx="1487264" cy="414976"/>
          </a:xfrm>
          <a:prstGeom prst="rect">
            <a:avLst/>
          </a:prstGeom>
        </p:spPr>
      </p:pic>
      <p:pic>
        <p:nvPicPr>
          <p:cNvPr id="68" name="Picture 12" descr="Garfield - Garfield Logo Vector, HD Png Download , Transparent Png Image -  PNGitem | Vector logo, ? logo, Garfield">
            <a:extLst>
              <a:ext uri="{FF2B5EF4-FFF2-40B4-BE49-F238E27FC236}">
                <a16:creationId xmlns:a16="http://schemas.microsoft.com/office/drawing/2014/main" id="{4E5EC340-F3C7-4F59-05EA-B6A3AB425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backgroundRemoval t="9091" b="88843" l="5465" r="93721">
                        <a14:foregroundMark x1="90349" y1="32645" x2="93953" y2="56612"/>
                        <a14:foregroundMark x1="93953" y1="56612" x2="89535" y2="73140"/>
                        <a14:foregroundMark x1="10930" y1="72314" x2="8256" y2="39669"/>
                        <a14:foregroundMark x1="8256" y1="39669" x2="11860" y2="33884"/>
                        <a14:foregroundMark x1="5698" y1="47521" x2="5465" y2="6859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5308" y="4637142"/>
            <a:ext cx="1439733" cy="40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 descr="A silver text with red and black text&#10;&#10;Description automatically generated">
            <a:extLst>
              <a:ext uri="{FF2B5EF4-FFF2-40B4-BE49-F238E27FC236}">
                <a16:creationId xmlns:a16="http://schemas.microsoft.com/office/drawing/2014/main" id="{A88EA850-4747-E13C-2457-4DB57969E677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4295" y="1256487"/>
            <a:ext cx="1095907" cy="56319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DFFDBCA-8EAC-539A-B0E3-54D3C98EDD27}"/>
              </a:ext>
            </a:extLst>
          </p:cNvPr>
          <p:cNvCxnSpPr>
            <a:cxnSpLocks/>
          </p:cNvCxnSpPr>
          <p:nvPr/>
        </p:nvCxnSpPr>
        <p:spPr>
          <a:xfrm flipV="1">
            <a:off x="5947283" y="3329603"/>
            <a:ext cx="0" cy="29784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D8542A-C12C-E8DE-FF54-89DFC59ADCA0}"/>
              </a:ext>
            </a:extLst>
          </p:cNvPr>
          <p:cNvCxnSpPr>
            <a:cxnSpLocks/>
          </p:cNvCxnSpPr>
          <p:nvPr/>
        </p:nvCxnSpPr>
        <p:spPr>
          <a:xfrm flipV="1">
            <a:off x="4870323" y="3339763"/>
            <a:ext cx="0" cy="29784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2A28588-2078-BCF2-BEE2-3D60457F4565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216438" y="2658720"/>
            <a:ext cx="1259037" cy="60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5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F8127FAEC31A48AE6F1C492DD759CF" ma:contentTypeVersion="2" ma:contentTypeDescription="Create a new document." ma:contentTypeScope="" ma:versionID="e2a11eef44a86051666b89c82a9dfd3f">
  <xsd:schema xmlns:xsd="http://www.w3.org/2001/XMLSchema" xmlns:xs="http://www.w3.org/2001/XMLSchema" xmlns:p="http://schemas.microsoft.com/office/2006/metadata/properties" xmlns:ns2="a780b68c-c101-4594-8485-2bb2f67a1cfe" targetNamespace="http://schemas.microsoft.com/office/2006/metadata/properties" ma:root="true" ma:fieldsID="601f7a0fc27f77a4e72f14f56b4e943a" ns2:_="">
    <xsd:import namespace="a780b68c-c101-4594-8485-2bb2f67a1c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0b68c-c101-4594-8485-2bb2f67a1c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F80AC7-7E68-4C0E-AE6C-54663BD55B2B}">
  <ds:schemaRefs>
    <ds:schemaRef ds:uri="a780b68c-c101-4594-8485-2bb2f67a1cf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B76D51E-4894-4876-8F3A-84420C2F4A7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401ED0-B691-4DE7-A49E-13EC205B57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80b68c-c101-4594-8485-2bb2f67a1c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entury Gothic</vt:lpstr>
      <vt:lpstr>Impact</vt:lpstr>
      <vt:lpstr>Wingdings</vt:lpstr>
      <vt:lpstr>18_Image Slides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nema’s return in 15 MINUTES</dc:title>
  <dc:creator/>
  <cp:lastModifiedBy/>
  <cp:revision>2</cp:revision>
  <dcterms:created xsi:type="dcterms:W3CDTF">2019-12-03T11:49:31Z</dcterms:created>
  <dcterms:modified xsi:type="dcterms:W3CDTF">2024-01-19T10:17:4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0CF8127FAEC31A48AE6F1C492DD759CF</vt:lpwstr>
  </property>
</Properties>
</file>